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99" r:id="rId3"/>
    <p:sldMasterId id="2147483740" r:id="rId4"/>
    <p:sldMasterId id="2147483768" r:id="rId5"/>
  </p:sldMasterIdLst>
  <p:notesMasterIdLst>
    <p:notesMasterId r:id="rId15"/>
  </p:notesMasterIdLst>
  <p:sldIdLst>
    <p:sldId id="268" r:id="rId6"/>
    <p:sldId id="289" r:id="rId7"/>
    <p:sldId id="256" r:id="rId8"/>
    <p:sldId id="305" r:id="rId9"/>
    <p:sldId id="306" r:id="rId10"/>
    <p:sldId id="307" r:id="rId11"/>
    <p:sldId id="308" r:id="rId12"/>
    <p:sldId id="309" r:id="rId13"/>
    <p:sldId id="284" r:id="rId14"/>
  </p:sldIdLst>
  <p:sldSz cx="12192000" cy="6858000"/>
  <p:notesSz cx="6858000" cy="9144000"/>
  <p:defaultTextStyle>
    <a:defPPr>
      <a:defRPr lang="en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ddels stil 2 – uthevin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iddels stil 2 – uthevin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iddels stil 2 – utheving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27102A9-8310-4765-A935-A1911B00CA55}" styleName="Lys stil 1 – utheving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1359"/>
    <p:restoredTop sz="86391"/>
  </p:normalViewPr>
  <p:slideViewPr>
    <p:cSldViewPr snapToGrid="0" snapToObjects="1">
      <p:cViewPr varScale="1">
        <p:scale>
          <a:sx n="79" d="100"/>
          <a:sy n="79" d="100"/>
        </p:scale>
        <p:origin x="96" y="20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CFCF9D-E92A-6345-8DC7-E0BFA5C02DD4}" type="datetimeFigureOut">
              <a:rPr lang="en-NO" smtClean="0"/>
              <a:t>04/19/2024</a:t>
            </a:fld>
            <a:endParaRPr lang="en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837680-ABAF-A644-82C8-1905EA242E0D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8965254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837680-ABAF-A644-82C8-1905EA242E0D}" type="slidenum">
              <a:rPr lang="en-NO" smtClean="0"/>
              <a:t>1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40671875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837680-ABAF-A644-82C8-1905EA242E0D}" type="slidenum">
              <a:rPr lang="en-NO" smtClean="0"/>
              <a:t>2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1868799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Noe avvik på inntekter. Skyldes </a:t>
            </a:r>
            <a:r>
              <a:rPr lang="nb-NO" dirty="0" err="1"/>
              <a:t>hovedsaklig</a:t>
            </a:r>
            <a:r>
              <a:rPr lang="nb-NO" dirty="0"/>
              <a:t> overføring av IB bundne midler. Pasienter noe lavere- grunn påske </a:t>
            </a:r>
            <a:r>
              <a:rPr lang="nb-NO"/>
              <a:t>i mars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5BC990-0BBF-48F1-BF12-482DF62949CA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49088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837680-ABAF-A644-82C8-1905EA242E0D}" type="slidenum">
              <a:rPr lang="en-NO" smtClean="0"/>
              <a:t>4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6153851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837680-ABAF-A644-82C8-1905EA242E0D}" type="slidenum">
              <a:rPr lang="en-NO" smtClean="0"/>
              <a:t>9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2177696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7.svg"/><Relationship Id="rId7" Type="http://schemas.openxmlformats.org/officeDocument/2006/relationships/image" Target="../media/image9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Relationship Id="rId9" Type="http://schemas.openxmlformats.org/officeDocument/2006/relationships/image" Target="../media/image11.sv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1.svg"/><Relationship Id="rId4" Type="http://schemas.openxmlformats.org/officeDocument/2006/relationships/image" Target="../media/image7.svg"/><Relationship Id="rId9" Type="http://schemas.openxmlformats.org/officeDocument/2006/relationships/image" Target="../media/image10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7.svg"/><Relationship Id="rId7" Type="http://schemas.openxmlformats.org/officeDocument/2006/relationships/image" Target="../media/image9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Relationship Id="rId9" Type="http://schemas.openxmlformats.org/officeDocument/2006/relationships/image" Target="../media/image11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8.png"/><Relationship Id="rId7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7.svg"/><Relationship Id="rId7" Type="http://schemas.openxmlformats.org/officeDocument/2006/relationships/image" Target="../media/image9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Relationship Id="rId9" Type="http://schemas.openxmlformats.org/officeDocument/2006/relationships/image" Target="../media/image11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1.svg"/><Relationship Id="rId4" Type="http://schemas.openxmlformats.org/officeDocument/2006/relationships/image" Target="../media/image7.svg"/><Relationship Id="rId9" Type="http://schemas.openxmlformats.org/officeDocument/2006/relationships/image" Target="../media/image10.pn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3.svg"/><Relationship Id="rId7" Type="http://schemas.openxmlformats.org/officeDocument/2006/relationships/image" Target="../media/image11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Relationship Id="rId9" Type="http://schemas.openxmlformats.org/officeDocument/2006/relationships/image" Target="../media/image7.svg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7.svg"/><Relationship Id="rId7" Type="http://schemas.openxmlformats.org/officeDocument/2006/relationships/image" Target="../media/image9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Relationship Id="rId9" Type="http://schemas.openxmlformats.org/officeDocument/2006/relationships/image" Target="../media/image11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7" Type="http://schemas.openxmlformats.org/officeDocument/2006/relationships/image" Target="../media/image17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6" Type="http://schemas.openxmlformats.org/officeDocument/2006/relationships/image" Target="../media/image16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23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sv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8.png"/><Relationship Id="rId7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7.svg"/><Relationship Id="rId7" Type="http://schemas.openxmlformats.org/officeDocument/2006/relationships/image" Target="../media/image9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8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Relationship Id="rId9" Type="http://schemas.openxmlformats.org/officeDocument/2006/relationships/image" Target="../media/image11.svg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1.svg"/><Relationship Id="rId4" Type="http://schemas.openxmlformats.org/officeDocument/2006/relationships/image" Target="../media/image7.svg"/><Relationship Id="rId9" Type="http://schemas.openxmlformats.org/officeDocument/2006/relationships/image" Target="../media/image10.png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3.svg"/><Relationship Id="rId7" Type="http://schemas.openxmlformats.org/officeDocument/2006/relationships/image" Target="../media/image11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Relationship Id="rId9" Type="http://schemas.openxmlformats.org/officeDocument/2006/relationships/image" Target="../media/image7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7.svg"/><Relationship Id="rId7" Type="http://schemas.openxmlformats.org/officeDocument/2006/relationships/image" Target="../media/image9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8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Relationship Id="rId9" Type="http://schemas.openxmlformats.org/officeDocument/2006/relationships/image" Target="../media/image11.sv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7" Type="http://schemas.openxmlformats.org/officeDocument/2006/relationships/image" Target="../media/image17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Relationship Id="rId6" Type="http://schemas.openxmlformats.org/officeDocument/2006/relationships/image" Target="../media/image16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5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23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sv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C6AB949-2DB3-2E4C-A607-DD88491C73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A1A238-3A78-144A-812E-B29CE46D82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8314E-60F8-654C-BC30-F187594B0814}" type="datetimeFigureOut">
              <a:rPr lang="en-NO" smtClean="0"/>
              <a:t>04/19/2024</a:t>
            </a:fld>
            <a:endParaRPr lang="en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C6586D-7C4D-D040-8ACB-C7E1A00E6E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520D34-FFB0-B74B-9141-7320F9E06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3CA1F5-C181-CE4E-A3C6-406E293080AD}" type="slidenum">
              <a:rPr lang="en-NO" smtClean="0"/>
              <a:t>‹#›</a:t>
            </a:fld>
            <a:endParaRPr lang="en-NO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F1C1A22-9A04-3E47-ABCA-B020C43B04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1905801"/>
            <a:ext cx="7121893" cy="1029903"/>
          </a:xfrm>
        </p:spPr>
        <p:txBody>
          <a:bodyPr anchor="b"/>
          <a:lstStyle>
            <a:lvl1pPr algn="ctr">
              <a:defRPr sz="6000" b="0"/>
            </a:lvl1pPr>
          </a:lstStyle>
          <a:p>
            <a:r>
              <a:rPr lang="nb-NO" b="1" dirty="0">
                <a:latin typeface="Arial" panose="020B0604020202020204" pitchFamily="34" charset="0"/>
                <a:cs typeface="Arial" panose="020B0604020202020204" pitchFamily="34" charset="0"/>
              </a:rPr>
              <a:t>Legg til tittel</a:t>
            </a:r>
            <a:endParaRPr lang="en-NO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DEA7E991-9CE8-3848-AEC7-561CDCE036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3429000"/>
            <a:ext cx="7121893" cy="102990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Legg til undertittel</a:t>
            </a:r>
          </a:p>
        </p:txBody>
      </p:sp>
    </p:spTree>
    <p:extLst>
      <p:ext uri="{BB962C8B-B14F-4D97-AF65-F5344CB8AC3E}">
        <p14:creationId xmlns:p14="http://schemas.microsoft.com/office/powerpoint/2010/main" val="36351675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1A6A40-A620-524C-A17B-D52261870E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5BC7BFC-77D6-7444-B389-93C4B612D2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50B9FA-8929-D441-938B-1ECEDE4FA0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8314E-60F8-654C-BC30-F187594B0814}" type="datetimeFigureOut">
              <a:rPr lang="en-NO" smtClean="0"/>
              <a:t>04/19/2024</a:t>
            </a:fld>
            <a:endParaRPr lang="en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E37163-8A3A-364B-831B-6135A27F55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93D883-1137-5649-873F-A7330920E7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3CA1F5-C181-CE4E-A3C6-406E293080AD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02190185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9B862C1-E170-4A17-AD3B-930F378B8C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F0F66F37-556A-44F8-A5E4-845E9C84DA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A776FD7C-C8FB-40F1-83F1-E4E95150BDC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47ED7D9-BB83-4198-9D9B-7299BB0109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409C6-D7C6-4E0F-842C-14E371EAE0AF}" type="datetimeFigureOut">
              <a:rPr lang="nb-NO" smtClean="0"/>
              <a:t>19.04.2024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9102B0C3-3E64-4863-B610-2C58445414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ACB3C7C-9535-4A47-A40A-0BBFE6F3B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1781A-1EA7-4D38-BF0B-6A0A4DD4113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3250764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2912466-606B-4743-9C92-C065B86E29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6168F16E-C45F-450B-90F6-50EE108D211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095D8DC8-C2C8-4730-A983-9F0C8E55D5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77A6387-82E0-4DDF-90AE-0A53964415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409C6-D7C6-4E0F-842C-14E371EAE0AF}" type="datetimeFigureOut">
              <a:rPr lang="nb-NO" smtClean="0"/>
              <a:t>19.04.2024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5A577BF0-AD82-4F66-9C28-7E023FACE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BD3372FF-6180-4258-A952-67A6F409BB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1781A-1EA7-4D38-BF0B-6A0A4DD4113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4425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5B9BC68-09A5-4507-A612-7553D865FE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17C894A8-90FC-42C0-8B59-502E014455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57FBB3DB-2B86-4A15-9399-8C34EEF209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409C6-D7C6-4E0F-842C-14E371EAE0AF}" type="datetimeFigureOut">
              <a:rPr lang="nb-NO" smtClean="0"/>
              <a:t>19.04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BD51EC9-9CBE-41EC-A4A6-6832B8C80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5403654-7CE5-4E04-832C-42655C97F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1781A-1EA7-4D38-BF0B-6A0A4DD4113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1372592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9B7CEA10-7CE9-4B4E-AC4E-AB298152254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DB9E60E3-FC27-4F32-8371-5DCEBD5176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CC06673-28C8-4404-9481-4AC8A13D8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409C6-D7C6-4E0F-842C-14E371EAE0AF}" type="datetimeFigureOut">
              <a:rPr lang="nb-NO" smtClean="0"/>
              <a:t>19.04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EF00E2E-CA9E-4FEB-AFC1-1461FA256C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59495FB0-F7CB-4EDF-AF75-8B062A263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1781A-1EA7-4D38-BF0B-6A0A4DD4113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314059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38A9F62-2560-6E4C-9BCD-FA04EE543E0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832337"/>
            <a:ext cx="2628900" cy="534462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942B655-5DB7-204E-B78B-FDEC5675B7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832337"/>
            <a:ext cx="7734300" cy="534462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CEB6DC-3D5D-5243-9034-FF605104E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8314E-60F8-654C-BC30-F187594B0814}" type="datetimeFigureOut">
              <a:rPr lang="en-NO" smtClean="0"/>
              <a:t>04/19/2024</a:t>
            </a:fld>
            <a:endParaRPr lang="en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710FF8-42D9-FF40-AA29-C74EAF0D49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0EFB05-CCC5-054B-8630-0EDE4842CB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3CA1F5-C181-CE4E-A3C6-406E293080AD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4046275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</p:spTree>
    <p:extLst>
      <p:ext uri="{BB962C8B-B14F-4D97-AF65-F5344CB8AC3E}">
        <p14:creationId xmlns:p14="http://schemas.microsoft.com/office/powerpoint/2010/main" val="36336529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iO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69DA1E-EAF3-4579-9C13-A3B45E22F6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3375167"/>
            <a:ext cx="5716962" cy="1547605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6949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UiO Fullbredde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kapfor1, kapfor4, kapfor5, kapfor6, kapfor7</a:t>
            </a:r>
          </a:p>
        </p:txBody>
      </p:sp>
    </p:spTree>
    <p:extLst>
      <p:ext uri="{BB962C8B-B14F-4D97-AF65-F5344CB8AC3E}">
        <p14:creationId xmlns:p14="http://schemas.microsoft.com/office/powerpoint/2010/main" val="13405577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iO Fullbredde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826FC79-CEAE-42C3-9725-FAEABEBE65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334682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586699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Enhet</a:t>
            </a:r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9064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957250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 hidden="1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974589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Uthevet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438476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078871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6F474B-2FE6-E04F-A383-3494D0D1C9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88989"/>
            <a:ext cx="10515600" cy="9016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249BD8-C078-D049-AAEB-815187B11F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1785F8-1C67-784F-8484-EE1DADF335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8314E-60F8-654C-BC30-F187594B0814}" type="datetimeFigureOut">
              <a:rPr lang="en-NO" smtClean="0"/>
              <a:t>04/19/2024</a:t>
            </a:fld>
            <a:endParaRPr lang="en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3F5B6C-0CFA-E14D-9B73-A56716E4F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EA3A7B-6128-F846-89B2-AA585D664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3CA1F5-C181-CE4E-A3C6-406E293080AD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5215454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Farge/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620175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Uthevet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Enh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422013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933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4291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933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08965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69909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265428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80169" y="1704042"/>
            <a:ext cx="11431663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56632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469089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70" y="1704042"/>
            <a:ext cx="5469088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03335"/>
            <a:ext cx="5469089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04042"/>
            <a:ext cx="5469089" cy="4354851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6863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59098" y="371518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59097" y="5875993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00DEDF7-A715-4410-ACF2-29795822F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5715831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F0A05AF4-63D3-4127-BC34-6BD82C03AF3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5715831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9" y="1704042"/>
            <a:ext cx="5715831" cy="4354559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23168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9F22D83-B5FE-4078-A904-43A0015893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80168" y="1180008"/>
            <a:ext cx="11431664" cy="4720030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22440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B84585-087C-3845-9184-E504019E43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FB1CDA-78D4-FF42-B023-F228BB7EB8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9A6A32-26B2-C449-881C-C33ADC82BC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8314E-60F8-654C-BC30-F187594B0814}" type="datetimeFigureOut">
              <a:rPr lang="en-NO" smtClean="0"/>
              <a:t>04/19/2024</a:t>
            </a:fld>
            <a:endParaRPr lang="en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0D05EB-41BB-8C4D-98AA-0A0F3D188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C6238A-BD7D-B243-86AE-05A0EA337A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3CA1F5-C181-CE4E-A3C6-406E293080AD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0410875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E1DAFF44-670E-4F4C-85A7-C39E379A8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9851" y="1710199"/>
            <a:ext cx="352431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F24F2E76-C57A-43E9-AE90-9A5885C83A59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377360" y="2793528"/>
            <a:ext cx="3524319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1" y="1720927"/>
            <a:ext cx="352431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3FA1C9B2-210C-4D25-800A-903735EC531A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4333839" y="2793528"/>
            <a:ext cx="3524320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3" y="1710199"/>
            <a:ext cx="3524639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920B93BE-FC97-4838-B295-13DE19DE7FB1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8284385" y="2793528"/>
            <a:ext cx="3524639" cy="287543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66300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1794FAB1-D6B5-4A8A-91E4-BEB7326AD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80168" y="1002716"/>
            <a:ext cx="3558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81050" y="2604949"/>
            <a:ext cx="3558098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8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02716"/>
            <a:ext cx="3556173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2127" y="2604949"/>
            <a:ext cx="3553363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6509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02716"/>
            <a:ext cx="3556173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8468" y="2604949"/>
            <a:ext cx="3553363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2851" y="3302287"/>
            <a:ext cx="3612984" cy="236667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46946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80168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80168" y="2307944"/>
            <a:ext cx="2703713" cy="336101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6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6" y="2307943"/>
            <a:ext cx="2703713" cy="336101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2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2" y="2307944"/>
            <a:ext cx="2703713" cy="336101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570739"/>
            <a:ext cx="2703713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8" y="2307943"/>
            <a:ext cx="2703713" cy="336101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167853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7F856006-F837-40CC-A206-116358E51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80167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2604949"/>
            <a:ext cx="2716858" cy="494749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80167" y="3292760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7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8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8" y="3292761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8" y="1002716"/>
            <a:ext cx="2716859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8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8" y="3292761"/>
            <a:ext cx="2716858" cy="237619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40821"/>
            <a:ext cx="2716858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604949"/>
            <a:ext cx="2716858" cy="494749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16858" cy="237619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747869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00F89B0E-F421-45EF-8C78-C84FEFC483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F7BB50C2-6F95-4C0A-8590-741501231A7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0168" y="1003335"/>
            <a:ext cx="1143166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80168" y="1729109"/>
            <a:ext cx="5611759" cy="3948448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0168" y="5875993"/>
            <a:ext cx="5611760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2201" y="1729109"/>
            <a:ext cx="5611759" cy="3948448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0072" y="5875993"/>
            <a:ext cx="5583887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9846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53F87D86-02F1-4288-ADF3-CFC53D24C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78A54228-A18C-49D4-8BAE-55234982E14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0168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80170" y="1710901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16109106-4360-48AE-97EE-22C402C46E3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40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42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03335"/>
            <a:ext cx="3524319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4" y="1703168"/>
            <a:ext cx="3524319" cy="395805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5172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5C0B4E6-5502-441C-BDE1-D20B19081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168" y="161944"/>
            <a:ext cx="11431664" cy="75406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180008"/>
            <a:ext cx="12192000" cy="567799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6328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22971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207951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8743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2862E0-A5D5-1548-B4B3-D65B2CBAC3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C54DB0-606E-9A42-968F-D0D29F29AB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O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FB48B7-5789-7849-A3EC-2B38094266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O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0F38D3-2B8A-494E-805A-8E87198B5D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8314E-60F8-654C-BC30-F187594B0814}" type="datetimeFigureOut">
              <a:rPr lang="en-NO" smtClean="0"/>
              <a:t>04/19/2024</a:t>
            </a:fld>
            <a:endParaRPr lang="en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9C6BA3-0430-0B46-9BBE-BE19BAC10E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5B1897-27F3-664D-BC7F-398F36217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3CA1F5-C181-CE4E-A3C6-406E293080AD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5831471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7686243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69488000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1799961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752729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0804072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8967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770618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74059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299052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0811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37842-5B6D-9F4F-AE9D-F6461365A2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866776"/>
            <a:ext cx="10515600" cy="82391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0F7D73-1AEE-3E4D-BEEC-E52B17B8AD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D7464B0-862B-C645-BA0A-DBFA6A02C2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7F90AF-6326-B449-87D8-AD96844495E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1EF8140-407F-1449-8CC0-713172294AE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O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01A992E-A859-2F49-BA8E-4BA0619780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8314E-60F8-654C-BC30-F187594B0814}" type="datetimeFigureOut">
              <a:rPr lang="en-NO" smtClean="0"/>
              <a:t>04/19/2024</a:t>
            </a:fld>
            <a:endParaRPr lang="en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3F1F19-3D1A-984F-A9D4-8C4187DED7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A2B8246-3FCB-AE4B-9375-698C45147B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3CA1F5-C181-CE4E-A3C6-406E293080AD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63724896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88917223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216598563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7038961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2881601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76567765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71055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735789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451895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2525289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916273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8D8992-722E-B44B-A058-93BD860E9B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5F12F4C-18D8-614B-ABF1-AE2291B10C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8314E-60F8-654C-BC30-F187594B0814}" type="datetimeFigureOut">
              <a:rPr lang="en-NO" smtClean="0"/>
              <a:t>04/19/2024</a:t>
            </a:fld>
            <a:endParaRPr lang="en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5FD483-FEDA-CE48-ABF3-C4E629E50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4421FD-27AB-D347-B1D8-2C12EB955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3CA1F5-C181-CE4E-A3C6-406E293080AD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86777795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61138495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1142148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904146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259341069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9259005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572B-2F6B-48CB-B648-0350523D0CC0}" type="datetimeFigureOut">
              <a:rPr lang="nb-NO" smtClean="0"/>
              <a:t>19.04.2024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479D8-E6BB-48E8-999E-D27BD07D66C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0529489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599738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243359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4905382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6865862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804BE34-EE55-3D49-9A8A-8AA80BFC51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8314E-60F8-654C-BC30-F187594B0814}" type="datetimeFigureOut">
              <a:rPr lang="en-NO" smtClean="0"/>
              <a:t>04/19/2024</a:t>
            </a:fld>
            <a:endParaRPr lang="en-N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F6DBA6-9F5F-704F-BCD2-4DF21E1339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595F2C-E406-D246-AFA0-559DDDC37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3CA1F5-C181-CE4E-A3C6-406E293080AD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40547903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5245069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515765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141461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274268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59087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527964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78905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894629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278575690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690536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02A6B5-ADD8-D94F-8184-A86B3A19D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4"/>
            <a:ext cx="3932237" cy="106997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816499-FE48-E843-8295-91C303DEE5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B7D3DA8-36D0-9A4D-835F-20FACE1543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A29E6A-0784-4B41-9120-17B0BAF245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8314E-60F8-654C-BC30-F187594B0814}" type="datetimeFigureOut">
              <a:rPr lang="en-NO" smtClean="0"/>
              <a:t>04/19/2024</a:t>
            </a:fld>
            <a:endParaRPr lang="en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6B3AD3-8969-EF49-AB42-434B1860C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3ABC37-C20E-4A42-97AA-325DDA9743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3CA1F5-C181-CE4E-A3C6-406E293080AD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67531955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409024261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238730534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217153217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6287165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47817807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976776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960538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209905431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21519452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880850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27D130-6999-7041-9A5E-EDEDD5125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4"/>
            <a:ext cx="3932237" cy="106997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4CB2E85-14E6-9248-B4DB-02682848EE1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57EB50-1C6A-4D41-A07F-DCE26A2623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0E30F4-1B68-E747-ABAD-5780F26C3B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8314E-60F8-654C-BC30-F187594B0814}" type="datetimeFigureOut">
              <a:rPr lang="en-NO" smtClean="0"/>
              <a:t>04/19/2024</a:t>
            </a:fld>
            <a:endParaRPr lang="en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4F50E7-617C-7B48-91A4-F0447AE222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DD5DC3-6975-6740-A113-22FC74C74E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3CA1F5-C181-CE4E-A3C6-406E293080AD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20998219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94220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90566191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1332853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4D8358D-987B-4E50-9092-F0D7EBCB7E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490B8045-87A7-4466-AC90-EDC0A771E0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DA79010-BE06-45AD-81D7-FAD58863E9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409C6-D7C6-4E0F-842C-14E371EAE0AF}" type="datetimeFigureOut">
              <a:rPr lang="nb-NO" smtClean="0"/>
              <a:t>19.04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3176F0E5-DFD2-48B6-A31A-F9AB08765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5687547-36A8-4381-AA87-ED86AB5CA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1781A-1EA7-4D38-BF0B-6A0A4DD4113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0611124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F0A6D3C-2BA8-4CDA-A7E6-55AA9F00E8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B275C80-A6EE-4E1D-A00A-FF19C66DC5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5D3A4A79-6093-4841-8B7F-1E2A70CB0C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409C6-D7C6-4E0F-842C-14E371EAE0AF}" type="datetimeFigureOut">
              <a:rPr lang="nb-NO" smtClean="0"/>
              <a:t>19.04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4268751-6272-4799-99EA-86622BCB0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5CD1600C-1389-4223-9D15-3195A1485D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1781A-1EA7-4D38-BF0B-6A0A4DD4113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5686843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E732D12-1E9A-4FB1-9BDB-7F91714CFE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E9E5C30B-C173-4EEF-A69C-E792D7E17A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2B22A95-FF54-4E35-9974-58B0786DD0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409C6-D7C6-4E0F-842C-14E371EAE0AF}" type="datetimeFigureOut">
              <a:rPr lang="nb-NO" smtClean="0"/>
              <a:t>19.04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E5A0EC0-6023-4D89-BC65-78183027EA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F983EEB-53CF-4B7B-8519-F6A2332E22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1781A-1EA7-4D38-BF0B-6A0A4DD4113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4242001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12946DB-6B89-4F22-B1A7-D1CA70413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2C55B8B-2129-4B4A-B8EA-C02E44A9D8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CCF77123-CE5B-46AD-9962-64D02E6B8F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F129A9EE-D401-401D-BEE2-320932D4D2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409C6-D7C6-4E0F-842C-14E371EAE0AF}" type="datetimeFigureOut">
              <a:rPr lang="nb-NO" smtClean="0"/>
              <a:t>19.04.2024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F431D11A-3FF5-45A5-9DBB-A425452A73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63EA3ADF-2D0F-43B5-8788-6D7EFCE754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1781A-1EA7-4D38-BF0B-6A0A4DD4113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0161411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70F7A1B-1ADB-4719-9847-A4CF2FED8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D38C5267-1385-4AC4-9602-943DCA739F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84CCED56-C26F-45B0-AD7B-DBB1960FE3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4F3839AF-CC3E-4EF5-A44B-503750BBC59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99929851-A295-47BC-BB40-3B6A5E7D78F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1299DEBC-BD35-4EBC-8EFA-95445E17BF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409C6-D7C6-4E0F-842C-14E371EAE0AF}" type="datetimeFigureOut">
              <a:rPr lang="nb-NO" smtClean="0"/>
              <a:t>19.04.2024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C6AC4B98-513F-42E6-962F-1E578C256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4EFBD8A2-EA2B-4039-9EB3-7B11430D2E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1781A-1EA7-4D38-BF0B-6A0A4DD4113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6386231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865434E-D969-426D-824D-D51FEC4479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582B7A9B-FDA3-494F-B9AE-3CC1361C0B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409C6-D7C6-4E0F-842C-14E371EAE0AF}" type="datetimeFigureOut">
              <a:rPr lang="nb-NO" smtClean="0"/>
              <a:t>19.04.2024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004DA1E7-BBE0-40C4-9A1F-2DB106C0B4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0E7B6124-E68D-41D8-B0DA-71989F2325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1781A-1EA7-4D38-BF0B-6A0A4DD4113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0552516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589B7CB-A0CE-48D1-8BA1-2ACC86F430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409C6-D7C6-4E0F-842C-14E371EAE0AF}" type="datetimeFigureOut">
              <a:rPr lang="nb-NO" smtClean="0"/>
              <a:t>19.04.2024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2AE761B9-0F03-4145-99BB-DEAC2AB9FD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B92FD5F-0F7F-4824-BF9D-98CE6DE974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1781A-1EA7-4D38-BF0B-6A0A4DD4113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789486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image" Target="../media/image4.sv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image" Target="../media/image3.png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34" Type="http://schemas.openxmlformats.org/officeDocument/2006/relationships/image" Target="../media/image4.svg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image" Target="../media/image23.emf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tags" Target="../tags/tag1.xml"/><Relationship Id="rId8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26" Type="http://schemas.openxmlformats.org/officeDocument/2006/relationships/slideLayout" Target="../slideLayouts/slideLayout91.xml"/><Relationship Id="rId3" Type="http://schemas.openxmlformats.org/officeDocument/2006/relationships/slideLayout" Target="../slideLayouts/slideLayout68.xml"/><Relationship Id="rId21" Type="http://schemas.openxmlformats.org/officeDocument/2006/relationships/slideLayout" Target="../slideLayouts/slideLayout86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5" Type="http://schemas.openxmlformats.org/officeDocument/2006/relationships/slideLayout" Target="../slideLayouts/slideLayout90.xml"/><Relationship Id="rId33" Type="http://schemas.openxmlformats.org/officeDocument/2006/relationships/image" Target="../media/image4.svg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85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24" Type="http://schemas.openxmlformats.org/officeDocument/2006/relationships/slideLayout" Target="../slideLayouts/slideLayout89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23" Type="http://schemas.openxmlformats.org/officeDocument/2006/relationships/slideLayout" Target="../slideLayouts/slideLayout88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31" Type="http://schemas.openxmlformats.org/officeDocument/2006/relationships/image" Target="../media/image23.emf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7.xml"/><Relationship Id="rId27" Type="http://schemas.openxmlformats.org/officeDocument/2006/relationships/slideLayout" Target="../slideLayouts/slideLayout92.xml"/><Relationship Id="rId30" Type="http://schemas.openxmlformats.org/officeDocument/2006/relationships/oleObject" Target="../embeddings/oleObject4.bin"/><Relationship Id="rId8" Type="http://schemas.openxmlformats.org/officeDocument/2006/relationships/slideLayout" Target="../slideLayouts/slideLayout7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16BCC43-5B1D-7C41-9D2D-E5522F0D8F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97169"/>
            <a:ext cx="10515600" cy="8935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3EFBE8-89F4-7F4C-85ED-87401594AE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1AC340-7FC4-A241-8067-B9F08F891F4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A8314E-60F8-654C-BC30-F187594B0814}" type="datetimeFigureOut">
              <a:rPr lang="en-NO" smtClean="0"/>
              <a:t>04/19/2024</a:t>
            </a:fld>
            <a:endParaRPr lang="en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F39040-1AEC-834C-A975-4B1D13EB12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1D6D85-C6BC-6B47-84D1-4C5B96333D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3CA1F5-C181-CE4E-A3C6-406E293080AD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4193622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199309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5438" indent="-125438" algn="l" defTabSz="914446" rtl="0" eaLnBrk="1" latinLnBrk="0" hangingPunct="1">
        <a:lnSpc>
          <a:spcPct val="100000"/>
        </a:lnSpc>
        <a:spcBef>
          <a:spcPts val="115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1421649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  <p:sldLayoutId id="2147483727" r:id="rId28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39" imgH="343" progId="TCLayout.ActiveDocument.1">
                  <p:embed/>
                </p:oleObj>
              </mc:Choice>
              <mc:Fallback>
                <p:oleObj name="think-cell Slide" r:id="rId30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2833523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7" r:id="rId17"/>
    <p:sldLayoutId id="2147483758" r:id="rId18"/>
    <p:sldLayoutId id="2147483759" r:id="rId19"/>
    <p:sldLayoutId id="2147483760" r:id="rId20"/>
    <p:sldLayoutId id="2147483761" r:id="rId21"/>
    <p:sldLayoutId id="2147483762" r:id="rId22"/>
    <p:sldLayoutId id="2147483763" r:id="rId23"/>
    <p:sldLayoutId id="2147483764" r:id="rId24"/>
    <p:sldLayoutId id="2147483765" r:id="rId25"/>
    <p:sldLayoutId id="2147483766" r:id="rId26"/>
    <p:sldLayoutId id="2147483767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BFC14A61-BCC9-4938-B0CE-C84A24CFA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A55005A3-D471-4D4E-9891-5C78C24CFA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2048C12-6C2D-4FD0-8614-B99E83143B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2409C6-D7C6-4E0F-842C-14E371EAE0AF}" type="datetimeFigureOut">
              <a:rPr lang="nb-NO" smtClean="0"/>
              <a:t>19.04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6192E2FF-09E3-4A52-9EAB-9717BB8FF8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F7C7C8D-C343-413C-AE13-BB8762C396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D1781A-1EA7-4D38-BF0B-6A0A4DD4113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67791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441E14BF-6C46-3442-BBF7-4F4516B0D7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8380" y="2562727"/>
            <a:ext cx="7719216" cy="1922646"/>
          </a:xfrm>
        </p:spPr>
        <p:txBody>
          <a:bodyPr>
            <a:normAutofit/>
          </a:bodyPr>
          <a:lstStyle/>
          <a:p>
            <a:pPr algn="l"/>
            <a:r>
              <a:rPr lang="nb-NO" altLang="nb-NO" sz="2800" b="1" kern="0" dirty="0">
                <a:solidFill>
                  <a:srgbClr val="808080"/>
                </a:solidFill>
              </a:rPr>
              <a:t>IDF 19.04.2024</a:t>
            </a:r>
            <a:br>
              <a:rPr lang="nb-NO" altLang="nb-NO" sz="2800" b="1" kern="0" dirty="0">
                <a:solidFill>
                  <a:srgbClr val="808080"/>
                </a:solidFill>
              </a:rPr>
            </a:br>
            <a:endParaRPr lang="nb-NO" sz="1800" dirty="0"/>
          </a:p>
        </p:txBody>
      </p:sp>
    </p:spTree>
    <p:extLst>
      <p:ext uri="{BB962C8B-B14F-4D97-AF65-F5344CB8AC3E}">
        <p14:creationId xmlns:p14="http://schemas.microsoft.com/office/powerpoint/2010/main" val="3716195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Sylinder 6">
            <a:extLst>
              <a:ext uri="{FF2B5EF4-FFF2-40B4-BE49-F238E27FC236}">
                <a16:creationId xmlns:a16="http://schemas.microsoft.com/office/drawing/2014/main" id="{5034E299-A108-4A3E-A97A-BB7CAD2BA38B}"/>
              </a:ext>
            </a:extLst>
          </p:cNvPr>
          <p:cNvSpPr txBox="1"/>
          <p:nvPr/>
        </p:nvSpPr>
        <p:spPr>
          <a:xfrm>
            <a:off x="709550" y="977694"/>
            <a:ext cx="307488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 err="1"/>
              <a:t>Informasjonssaker</a:t>
            </a:r>
            <a:endParaRPr lang="nb-NO" sz="2400" dirty="0"/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94678DFD-D227-4E3F-B12E-D424974DBAF5}"/>
              </a:ext>
            </a:extLst>
          </p:cNvPr>
          <p:cNvSpPr txBox="1"/>
          <p:nvPr/>
        </p:nvSpPr>
        <p:spPr>
          <a:xfrm>
            <a:off x="709550" y="5418641"/>
            <a:ext cx="17572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/>
              <a:t>Eventuelt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D168220B-5CDD-ADA0-DA77-5D44F7B95547}"/>
              </a:ext>
            </a:extLst>
          </p:cNvPr>
          <p:cNvSpPr txBox="1"/>
          <p:nvPr/>
        </p:nvSpPr>
        <p:spPr>
          <a:xfrm>
            <a:off x="709550" y="3198167"/>
            <a:ext cx="253306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/>
              <a:t>Drøftingssaker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EDC22784-0599-FC42-6A6D-C8207D228CBF}"/>
              </a:ext>
            </a:extLst>
          </p:cNvPr>
          <p:cNvSpPr txBox="1"/>
          <p:nvPr/>
        </p:nvSpPr>
        <p:spPr>
          <a:xfrm>
            <a:off x="805334" y="1673677"/>
            <a:ext cx="797874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2000" b="1" i="0" u="none" strike="noStrike" baseline="0" dirty="0">
                <a:solidFill>
                  <a:srgbClr val="000000"/>
                </a:solidFill>
              </a:rPr>
              <a:t>12/24 	Fast post: Aktuelle saker fra ledelsen 	</a:t>
            </a:r>
          </a:p>
          <a:p>
            <a:r>
              <a:rPr lang="nb-NO" sz="2000" b="1" dirty="0">
                <a:solidFill>
                  <a:srgbClr val="000000"/>
                </a:solidFill>
              </a:rPr>
              <a:t>13</a:t>
            </a:r>
            <a:r>
              <a:rPr lang="nb-NO" sz="2000" b="1" i="0" u="none" strike="noStrike" baseline="0" dirty="0">
                <a:solidFill>
                  <a:srgbClr val="000000"/>
                </a:solidFill>
              </a:rPr>
              <a:t>/24 	Fast post: Status økonomi 	</a:t>
            </a:r>
          </a:p>
          <a:p>
            <a:r>
              <a:rPr lang="nb-NO" sz="2000" b="0" i="0" u="none" strike="noStrike" baseline="0" dirty="0">
                <a:solidFill>
                  <a:srgbClr val="000000"/>
                </a:solidFill>
                <a:latin typeface="Times New Roman" panose="02020603050405020304" pitchFamily="18" charset="0"/>
              </a:rPr>
              <a:t>	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5798CC5-1C2B-B249-6768-6E7F48845CDD}"/>
              </a:ext>
            </a:extLst>
          </p:cNvPr>
          <p:cNvSpPr txBox="1"/>
          <p:nvPr/>
        </p:nvSpPr>
        <p:spPr>
          <a:xfrm>
            <a:off x="805334" y="3599001"/>
            <a:ext cx="1089703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nb-NO" sz="1200" b="0" i="0" u="none" strike="noStrike" baseline="0" dirty="0">
              <a:solidFill>
                <a:srgbClr val="000000"/>
              </a:solidFill>
              <a:latin typeface="Times New Roman" panose="02020603050405020304" pitchFamily="18" charset="0"/>
            </a:endParaRPr>
          </a:p>
          <a:p>
            <a:r>
              <a:rPr lang="nb-NO" sz="2000" b="1" i="0" u="none" strike="noStrike" baseline="0" dirty="0">
                <a:solidFill>
                  <a:srgbClr val="000000"/>
                </a:solidFill>
                <a:latin typeface="+mj-lt"/>
              </a:rPr>
              <a:t>14/24 	</a:t>
            </a:r>
            <a:r>
              <a:rPr lang="nb-NO" sz="2000" b="1" dirty="0">
                <a:effectLst/>
                <a:ea typeface="SimSun" panose="02010600030101010101" pitchFamily="2" charset="-122"/>
                <a:cs typeface="Times New Roman" panose="02020603050405020304" pitchFamily="18" charset="0"/>
              </a:rPr>
              <a:t>Kunngjøring av instituttlederstillingene</a:t>
            </a:r>
            <a:endParaRPr lang="nb-NO" sz="2000" b="0" i="0" u="none" strike="noStrike" baseline="0" dirty="0">
              <a:solidFill>
                <a:srgbClr val="000000"/>
              </a:solidFill>
              <a:latin typeface="+mj-lt"/>
            </a:endParaRPr>
          </a:p>
          <a:p>
            <a:r>
              <a:rPr lang="nb-NO" sz="2000" b="1" i="0" u="none" strike="noStrike" baseline="0" dirty="0">
                <a:solidFill>
                  <a:srgbClr val="000000"/>
                </a:solidFill>
                <a:latin typeface="+mj-lt"/>
              </a:rPr>
              <a:t>15/24	Valg av dekan</a:t>
            </a:r>
          </a:p>
          <a:p>
            <a:r>
              <a:rPr lang="nb-NO" sz="2000" b="1" dirty="0">
                <a:solidFill>
                  <a:srgbClr val="000000"/>
                </a:solidFill>
                <a:latin typeface="+mj-lt"/>
              </a:rPr>
              <a:t>16/24 	Bruk av midlertidige ansettelser</a:t>
            </a:r>
            <a:endParaRPr lang="nb-NO" sz="2000" b="0" i="0" u="none" strike="noStrike" baseline="0" dirty="0">
              <a:solidFill>
                <a:srgbClr val="0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374276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E89CBB5-CF4B-4BDA-BC18-31544471F8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34297"/>
            <a:ext cx="9144000" cy="796413"/>
          </a:xfrm>
        </p:spPr>
        <p:txBody>
          <a:bodyPr>
            <a:normAutofit fontScale="90000"/>
          </a:bodyPr>
          <a:lstStyle/>
          <a:p>
            <a:r>
              <a:rPr lang="nb-NO" dirty="0"/>
              <a:t>Regnskap OD per mars 2024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C23239AE-8485-488C-8B9F-55045CAB55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32475" y="1386348"/>
            <a:ext cx="11708969" cy="5347666"/>
          </a:xfrm>
        </p:spPr>
        <p:txBody>
          <a:bodyPr/>
          <a:lstStyle/>
          <a:p>
            <a:endParaRPr lang="nb-NO" dirty="0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FAA98E36-304F-41DF-AC34-9A4C499D2D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217" y="1311314"/>
            <a:ext cx="10813890" cy="3756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6091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B817FEA-5FC3-AAC0-36A3-68DD1AEA38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26500"/>
            <a:ext cx="10515600" cy="901699"/>
          </a:xfrm>
        </p:spPr>
        <p:txBody>
          <a:bodyPr>
            <a:noAutofit/>
          </a:bodyPr>
          <a:lstStyle/>
          <a:p>
            <a:r>
              <a:rPr lang="nb-NO" sz="3600" dirty="0"/>
              <a:t>12/2024 Aktuelle saker fra ledelse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85B3740-0A03-9AB0-20CA-06BF902AEB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5465" y="1628199"/>
            <a:ext cx="11142824" cy="4351338"/>
          </a:xfrm>
        </p:spPr>
        <p:txBody>
          <a:bodyPr>
            <a:normAutofit lnSpcReduction="10000"/>
          </a:bodyPr>
          <a:lstStyle/>
          <a:p>
            <a:r>
              <a:rPr lang="nb-NO" dirty="0"/>
              <a:t>ARK-undersøkelsen – status</a:t>
            </a:r>
          </a:p>
          <a:p>
            <a:r>
              <a:rPr lang="nb-NO" dirty="0"/>
              <a:t>Egnethetsvurdering av byggene i Geitmyrsveien</a:t>
            </a:r>
          </a:p>
          <a:p>
            <a:r>
              <a:rPr lang="nb-NO" dirty="0"/>
              <a:t>Referat fra dialogmøte med IT-avdelingen, 5.april</a:t>
            </a:r>
          </a:p>
          <a:p>
            <a:r>
              <a:rPr lang="nb-NO" dirty="0"/>
              <a:t>Referat fra dialogmøtet med UB, 5. april</a:t>
            </a:r>
          </a:p>
          <a:p>
            <a:r>
              <a:rPr lang="nb-NO" dirty="0"/>
              <a:t>Bemanningsplanprosjektet</a:t>
            </a:r>
          </a:p>
          <a:p>
            <a:r>
              <a:rPr lang="nb-NO" dirty="0"/>
              <a:t>Siste nytt om oppgradering av toalettene i GV71</a:t>
            </a:r>
          </a:p>
          <a:p>
            <a:r>
              <a:rPr lang="nb-NO" dirty="0"/>
              <a:t>Forhandlinger med </a:t>
            </a:r>
            <a:r>
              <a:rPr lang="nb-NO" dirty="0" err="1"/>
              <a:t>SiO</a:t>
            </a:r>
            <a:r>
              <a:rPr lang="nb-NO" dirty="0"/>
              <a:t> om eventuell bruk av tidligere Mottak</a:t>
            </a:r>
          </a:p>
          <a:p>
            <a:r>
              <a:rPr lang="nb-NO" dirty="0"/>
              <a:t>Utredning av faglige synergier ved en sammenslåing, OD/Med </a:t>
            </a:r>
            <a:r>
              <a:rPr lang="nb-NO" dirty="0" err="1"/>
              <a:t>fak</a:t>
            </a:r>
            <a:endParaRPr lang="nb-NO" dirty="0"/>
          </a:p>
          <a:p>
            <a:r>
              <a:rPr lang="nb-NO" dirty="0"/>
              <a:t>Oppfølging av studentene i klinikken, mulige tiltak</a:t>
            </a:r>
          </a:p>
          <a:p>
            <a:pPr marL="0" indent="0">
              <a:buNone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770778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C7E779F-82B0-152C-FF52-B24DA4A572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13/2024 Status økonomi – informasjo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4818818-651B-CB70-8E94-BE561F6F3E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Mars-regnskapet lukket</a:t>
            </a:r>
          </a:p>
          <a:p>
            <a:r>
              <a:rPr lang="nb-NO" dirty="0"/>
              <a:t>Ingen større avvik</a:t>
            </a:r>
          </a:p>
          <a:p>
            <a:r>
              <a:rPr lang="nb-NO" dirty="0"/>
              <a:t>Forbereder T1-rapporten med oppdatert prognose</a:t>
            </a:r>
          </a:p>
          <a:p>
            <a:r>
              <a:rPr lang="nb-NO" dirty="0"/>
              <a:t>Innfører LØP (</a:t>
            </a:r>
            <a:r>
              <a:rPr lang="nb-NO" dirty="0" err="1"/>
              <a:t>langsitktig</a:t>
            </a:r>
            <a:r>
              <a:rPr lang="nb-NO" dirty="0"/>
              <a:t> økonomisk </a:t>
            </a:r>
            <a:r>
              <a:rPr lang="nb-NO" dirty="0" err="1"/>
              <a:t>planleggiing</a:t>
            </a:r>
            <a:r>
              <a:rPr lang="nb-NO" dirty="0"/>
              <a:t>) etter vellykket pilot på MN, HF og SV</a:t>
            </a:r>
          </a:p>
        </p:txBody>
      </p:sp>
    </p:spTree>
    <p:extLst>
      <p:ext uri="{BB962C8B-B14F-4D97-AF65-F5344CB8AC3E}">
        <p14:creationId xmlns:p14="http://schemas.microsoft.com/office/powerpoint/2010/main" val="21970848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70A15-52D6-49C0-9D35-FEC27921BF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/>
              <a:t>D-sak 14/24 Kunngjøring av instituttlederstilinge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6F7362-3D77-4D15-AE7D-9BD7186595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3231" y="2506662"/>
            <a:ext cx="10925537" cy="4351338"/>
          </a:xfrm>
        </p:spPr>
        <p:txBody>
          <a:bodyPr/>
          <a:lstStyle/>
          <a:p>
            <a:pPr marL="0" indent="0">
              <a:lnSpc>
                <a:spcPct val="115000"/>
              </a:lnSpc>
              <a:buNone/>
            </a:pPr>
            <a:r>
              <a:rPr lang="nb-NO" dirty="0"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Vedlegg: - Tidsplan</a:t>
            </a:r>
            <a:endParaRPr lang="nb-NO" dirty="0">
              <a:effectLst/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0" indent="0">
              <a:lnSpc>
                <a:spcPct val="115000"/>
              </a:lnSpc>
              <a:buNone/>
            </a:pPr>
            <a:r>
              <a:rPr lang="nb-NO" dirty="0"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               - </a:t>
            </a:r>
            <a:r>
              <a:rPr lang="nb-NO" dirty="0" err="1"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Saksnotat</a:t>
            </a:r>
            <a:r>
              <a:rPr lang="nb-NO" dirty="0"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stillingsbeskrivelse IKO datert 18.03.2024</a:t>
            </a:r>
            <a:endParaRPr lang="nb-NO" dirty="0">
              <a:effectLst/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0" indent="0">
              <a:lnSpc>
                <a:spcPct val="115000"/>
              </a:lnSpc>
              <a:buNone/>
            </a:pPr>
            <a:r>
              <a:rPr lang="nb-NO" dirty="0"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               - Forslag til stillingsbeskrivelse</a:t>
            </a:r>
            <a:endParaRPr lang="nb-NO" dirty="0">
              <a:effectLst/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nb-NO" dirty="0"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Status, </a:t>
            </a:r>
            <a:r>
              <a:rPr lang="nb-NO" dirty="0"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utlysning instituttleder </a:t>
            </a:r>
            <a:r>
              <a:rPr lang="nb-NO" dirty="0"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IOB</a:t>
            </a:r>
            <a:endParaRPr lang="nb-NO" dirty="0">
              <a:effectLst/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76567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D9570E-1C64-45F1-AF38-A032C4E0F2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-sak 15/24 Valg av deka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8B7CEB-A3C3-4C3F-9BA0-F897F4AE6F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15000"/>
              </a:lnSpc>
              <a:buNone/>
            </a:pPr>
            <a:r>
              <a:rPr lang="nb-NO" dirty="0"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Vedlegg: - </a:t>
            </a:r>
            <a:r>
              <a:rPr lang="nb-NO" dirty="0" err="1"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Saksnotat</a:t>
            </a:r>
            <a:r>
              <a:rPr lang="nb-NO" dirty="0"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tidsplan av 02.04.2024</a:t>
            </a:r>
            <a:endParaRPr lang="nb-NO" dirty="0">
              <a:effectLst/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0" indent="0">
              <a:lnSpc>
                <a:spcPct val="115000"/>
              </a:lnSpc>
              <a:buNone/>
            </a:pPr>
            <a:r>
              <a:rPr lang="nb-NO" dirty="0"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               - Forslag til tidsplan</a:t>
            </a:r>
            <a:endParaRPr lang="nb-NO" dirty="0">
              <a:effectLst/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0" indent="0">
              <a:lnSpc>
                <a:spcPct val="115000"/>
              </a:lnSpc>
              <a:buNone/>
            </a:pPr>
            <a:r>
              <a:rPr lang="nb-NO" dirty="0"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               - </a:t>
            </a:r>
            <a:r>
              <a:rPr lang="nb-NO" dirty="0" err="1"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Saksnotat</a:t>
            </a:r>
            <a:r>
              <a:rPr lang="nb-NO" dirty="0"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stillingsbeskrivelse datert 02.04.2024</a:t>
            </a:r>
            <a:endParaRPr lang="nb-NO" dirty="0">
              <a:effectLst/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0" indent="0">
              <a:lnSpc>
                <a:spcPct val="115000"/>
              </a:lnSpc>
              <a:buNone/>
            </a:pPr>
            <a:r>
              <a:rPr lang="nb-NO" dirty="0"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               - Forslag til stillingsbeskrivelse</a:t>
            </a:r>
            <a:endParaRPr lang="nb-NO" dirty="0">
              <a:effectLst/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0" indent="0">
              <a:lnSpc>
                <a:spcPct val="115000"/>
              </a:lnSpc>
              <a:buNone/>
            </a:pPr>
            <a:r>
              <a:rPr lang="nb-NO" dirty="0"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               - </a:t>
            </a:r>
            <a:r>
              <a:rPr lang="nb-NO" dirty="0" err="1"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Saksnotat</a:t>
            </a:r>
            <a:r>
              <a:rPr lang="nb-NO" dirty="0"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valgkomite av 02.04.2024</a:t>
            </a:r>
            <a:endParaRPr lang="nb-NO" dirty="0">
              <a:effectLst/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442006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2AF681-A25C-41CE-9317-DA8D947299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/>
              <a:t>D-sak 16/24 Bruk av midlertidige </a:t>
            </a:r>
            <a:r>
              <a:rPr lang="nb-NO" dirty="0" err="1"/>
              <a:t>ansattelser</a:t>
            </a:r>
            <a:endParaRPr lang="nb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6EEECE-746E-494F-B9E2-46A740D23F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15000"/>
              </a:lnSpc>
              <a:buNone/>
            </a:pPr>
            <a:r>
              <a:rPr lang="nb-NO" dirty="0"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Vedlegg: </a:t>
            </a:r>
            <a:r>
              <a:rPr lang="nb-NO" dirty="0" err="1"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Saksnotat</a:t>
            </a:r>
            <a:r>
              <a:rPr lang="nb-NO" dirty="0"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datert 04.04.2024</a:t>
            </a:r>
            <a:endParaRPr lang="nb-NO" dirty="0">
              <a:effectLst/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0" indent="0">
              <a:lnSpc>
                <a:spcPct val="115000"/>
              </a:lnSpc>
              <a:buNone/>
            </a:pPr>
            <a:r>
              <a:rPr lang="nb-NO" dirty="0"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               Brev fra OPA av 21.02.2024 </a:t>
            </a:r>
            <a:endParaRPr lang="nb-NO" dirty="0">
              <a:effectLst/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pPr marL="0" indent="0">
              <a:lnSpc>
                <a:spcPct val="115000"/>
              </a:lnSpc>
              <a:buNone/>
            </a:pPr>
            <a:r>
              <a:rPr lang="nb-NO" dirty="0">
                <a:effectLst/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               Oversikt over midlertidig ansatte fra SAP pr 01.03.2024. </a:t>
            </a:r>
            <a:endParaRPr lang="nb-NO" dirty="0">
              <a:effectLst/>
              <a:latin typeface="Calibri" panose="020F0502020204030204" pitchFamily="34" charset="0"/>
              <a:ea typeface="SimSun" panose="02010600030101010101" pitchFamily="2" charset="-122"/>
              <a:cs typeface="Times New Roman" panose="02020603050405020304" pitchFamily="18" charset="0"/>
            </a:endParaRP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061248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Text Placeholder 1">
            <a:extLst>
              <a:ext uri="{FF2B5EF4-FFF2-40B4-BE49-F238E27FC236}">
                <a16:creationId xmlns:a16="http://schemas.microsoft.com/office/drawing/2014/main" id="{2D04263B-DE11-84C8-072F-E6944A8A009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14641" y="0"/>
            <a:ext cx="5973955" cy="6858000"/>
          </a:xfrm>
        </p:spPr>
        <p:txBody>
          <a:bodyPr/>
          <a:lstStyle/>
          <a:p>
            <a:endParaRPr lang="en-US"/>
          </a:p>
        </p:txBody>
      </p:sp>
      <p:pic>
        <p:nvPicPr>
          <p:cNvPr id="1026" name="Picture 2" descr="Se lesernes vår-bilder">
            <a:extLst>
              <a:ext uri="{FF2B5EF4-FFF2-40B4-BE49-F238E27FC236}">
                <a16:creationId xmlns:a16="http://schemas.microsoft.com/office/drawing/2014/main" id="{F3D1AF10-1022-4FDC-B18C-650A5858DA3B}"/>
              </a:ext>
            </a:extLst>
          </p:cNvPr>
          <p:cNvPicPr>
            <a:picLocks noGrp="1" noChangeAspect="1" noChangeArrowheads="1"/>
          </p:cNvPicPr>
          <p:nvPr>
            <p:ph type="pic" sz="quarter" idx="2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86" r="1761" b="2"/>
          <a:stretch/>
        </p:blipFill>
        <p:spPr bwMode="auto">
          <a:xfrm>
            <a:off x="6209880" y="10"/>
            <a:ext cx="5982120" cy="685799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1033" name="Text Placeholder 3">
            <a:extLst>
              <a:ext uri="{FF2B5EF4-FFF2-40B4-BE49-F238E27FC236}">
                <a16:creationId xmlns:a16="http://schemas.microsoft.com/office/drawing/2014/main" id="{B0370EE8-8912-9247-410B-A22D193E82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2847" y="341458"/>
            <a:ext cx="5071557" cy="207999"/>
          </a:xfrm>
        </p:spPr>
        <p:txBody>
          <a:bodyPr/>
          <a:lstStyle/>
          <a:p>
            <a:endParaRPr lang="en-US"/>
          </a:p>
        </p:txBody>
      </p:sp>
      <p:sp>
        <p:nvSpPr>
          <p:cNvPr id="1035" name="Text Placeholder 4">
            <a:extLst>
              <a:ext uri="{FF2B5EF4-FFF2-40B4-BE49-F238E27FC236}">
                <a16:creationId xmlns:a16="http://schemas.microsoft.com/office/drawing/2014/main" id="{BC04660A-1649-28DC-056D-3AF836F66A7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79038" y="653143"/>
            <a:ext cx="5075367" cy="1204686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95A1845C-64B5-5318-2377-F63AF4FF4ED2}"/>
              </a:ext>
            </a:extLst>
          </p:cNvPr>
          <p:cNvSpPr txBox="1"/>
          <p:nvPr/>
        </p:nvSpPr>
        <p:spPr>
          <a:xfrm>
            <a:off x="379039" y="2302849"/>
            <a:ext cx="5080128" cy="170241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defTabSz="914446">
              <a:spcBef>
                <a:spcPts val="1150"/>
              </a:spcBef>
            </a:pPr>
            <a:r>
              <a:rPr lang="en-US" sz="4500" b="1" kern="1200">
                <a:latin typeface="+mn-lt"/>
                <a:ea typeface="+mn-ea"/>
                <a:cs typeface="+mn-cs"/>
              </a:rPr>
              <a:t>EVENTUELT</a:t>
            </a:r>
          </a:p>
        </p:txBody>
      </p:sp>
      <p:sp>
        <p:nvSpPr>
          <p:cNvPr id="1037" name="Text Placeholder 6">
            <a:extLst>
              <a:ext uri="{FF2B5EF4-FFF2-40B4-BE49-F238E27FC236}">
                <a16:creationId xmlns:a16="http://schemas.microsoft.com/office/drawing/2014/main" id="{B436DC4A-F7D4-6F6E-0C4E-2E70746ED6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79038" y="4112581"/>
            <a:ext cx="5080128" cy="226283"/>
          </a:xfrm>
        </p:spPr>
        <p:txBody>
          <a:bodyPr/>
          <a:lstStyle/>
          <a:p>
            <a:endParaRPr lang="en-US"/>
          </a:p>
        </p:txBody>
      </p:sp>
      <p:sp>
        <p:nvSpPr>
          <p:cNvPr id="1039" name="Text Placeholder 7">
            <a:extLst>
              <a:ext uri="{FF2B5EF4-FFF2-40B4-BE49-F238E27FC236}">
                <a16:creationId xmlns:a16="http://schemas.microsoft.com/office/drawing/2014/main" id="{E9EBA7EE-419A-8478-C67C-413893C83A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3800" y="4379312"/>
            <a:ext cx="5075366" cy="226283"/>
          </a:xfrm>
        </p:spPr>
        <p:txBody>
          <a:bodyPr/>
          <a:lstStyle/>
          <a:p>
            <a:endParaRPr lang="en-US"/>
          </a:p>
        </p:txBody>
      </p:sp>
      <p:sp>
        <p:nvSpPr>
          <p:cNvPr id="1041" name="Text Placeholder 8">
            <a:extLst>
              <a:ext uri="{FF2B5EF4-FFF2-40B4-BE49-F238E27FC236}">
                <a16:creationId xmlns:a16="http://schemas.microsoft.com/office/drawing/2014/main" id="{34473FFE-9513-A26F-8A6C-3374EB7DCB4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3800" y="4646043"/>
            <a:ext cx="5075367" cy="226283"/>
          </a:xfrm>
        </p:spPr>
        <p:txBody>
          <a:bodyPr/>
          <a:lstStyle/>
          <a:p>
            <a:endParaRPr lang="en-US"/>
          </a:p>
        </p:txBody>
      </p:sp>
      <p:sp>
        <p:nvSpPr>
          <p:cNvPr id="1043" name="Date Placeholder 9">
            <a:extLst>
              <a:ext uri="{FF2B5EF4-FFF2-40B4-BE49-F238E27FC236}">
                <a16:creationId xmlns:a16="http://schemas.microsoft.com/office/drawing/2014/main" id="{A67A0E85-85B3-C6AA-640B-781983FF450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380170" y="1704042"/>
            <a:ext cx="5469088" cy="435455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defTabSz="914446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nb-NO" sz="2400" dirty="0"/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888B39D5-A086-3160-47D9-357C421B2398}"/>
              </a:ext>
            </a:extLst>
          </p:cNvPr>
          <p:cNvSpPr txBox="1"/>
          <p:nvPr/>
        </p:nvSpPr>
        <p:spPr>
          <a:xfrm>
            <a:off x="6342741" y="1003335"/>
            <a:ext cx="5469089" cy="4947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defTabSz="914446">
              <a:spcBef>
                <a:spcPts val="1150"/>
              </a:spcBef>
            </a:pPr>
            <a:endParaRPr lang="en-US" kern="1200" dirty="0">
              <a:latin typeface="+mn-lt"/>
              <a:ea typeface="+mn-ea"/>
              <a:cs typeface="+mn-cs"/>
            </a:endParaRPr>
          </a:p>
        </p:txBody>
      </p:sp>
      <p:sp>
        <p:nvSpPr>
          <p:cNvPr id="6" name="Plassholder for lysbildenummer 5" hidden="1">
            <a:extLst>
              <a:ext uri="{FF2B5EF4-FFF2-40B4-BE49-F238E27FC236}">
                <a16:creationId xmlns:a16="http://schemas.microsoft.com/office/drawing/2014/main" id="{BE86B58F-CF4E-425A-9667-1C6143CFEF1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66367" y="6263528"/>
            <a:ext cx="599469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9</a:t>
            </a:fld>
            <a:endParaRPr lang="en-US"/>
          </a:p>
        </p:txBody>
      </p:sp>
      <p:sp>
        <p:nvSpPr>
          <p:cNvPr id="49" name="Slide Number Placeholder 8" hidden="1">
            <a:extLst>
              <a:ext uri="{FF2B5EF4-FFF2-40B4-BE49-F238E27FC236}">
                <a16:creationId xmlns:a16="http://schemas.microsoft.com/office/drawing/2014/main" id="{D27FA33C-C205-0D84-EFA5-446552290CC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0837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D_PowerPoint_stud.potx" id="{1C684C6D-B78C-4854-9ECD-931A71770E29}" vid="{0790A32B-9C69-48C9-9708-EA08EE0538BF}"/>
    </a:ext>
  </a:extLst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" id="{5B0A4823-B853-4E03-94BC-DE2E1EFD621E}" vid="{1C5DA98A-F9AE-4FD9-9F7B-ADB1035017DA}"/>
    </a:ext>
  </a:extLst>
</a:theme>
</file>

<file path=ppt/theme/theme3.xml><?xml version="1.0" encoding="utf-8"?>
<a:theme xmlns:a="http://schemas.openxmlformats.org/drawingml/2006/main" name="3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4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5.xml><?xml version="1.0" encoding="utf-8"?>
<a:theme xmlns:a="http://schemas.openxmlformats.org/drawingml/2006/main" name="1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463b6811-b0a4-4b2a-b932-72c4c970c5d2}" enabled="0" method="" siteId="{463b6811-b0a4-4b2a-b932-72c4c970c5d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d_powerpoint_stud (1)</Template>
  <TotalTime>9148</TotalTime>
  <Words>263</Words>
  <Application>Microsoft Office PowerPoint</Application>
  <PresentationFormat>Widescreen</PresentationFormat>
  <Paragraphs>51</Paragraphs>
  <Slides>9</Slides>
  <Notes>5</Notes>
  <HiddenSlides>0</HiddenSlides>
  <MMClips>0</MMClips>
  <ScaleCrop>false</ScaleCrop>
  <HeadingPairs>
    <vt:vector size="8" baseType="variant">
      <vt:variant>
        <vt:lpstr>Brukte skrifter</vt:lpstr>
      </vt:variant>
      <vt:variant>
        <vt:i4>6</vt:i4>
      </vt:variant>
      <vt:variant>
        <vt:lpstr>Tema</vt:lpstr>
      </vt:variant>
      <vt:variant>
        <vt:i4>5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9</vt:i4>
      </vt:variant>
    </vt:vector>
  </HeadingPairs>
  <TitlesOfParts>
    <vt:vector size="21" baseType="lpstr">
      <vt:lpstr>Arial</vt:lpstr>
      <vt:lpstr>Arial, sans-serif</vt:lpstr>
      <vt:lpstr>Calibri</vt:lpstr>
      <vt:lpstr>Calibri Light</vt:lpstr>
      <vt:lpstr>Times New Roman</vt:lpstr>
      <vt:lpstr>Wingdings</vt:lpstr>
      <vt:lpstr>Office Theme</vt:lpstr>
      <vt:lpstr>1_Office Theme</vt:lpstr>
      <vt:lpstr>3_Office Theme</vt:lpstr>
      <vt:lpstr>Office-tema</vt:lpstr>
      <vt:lpstr>1_Office-tema</vt:lpstr>
      <vt:lpstr>think-cell Slide</vt:lpstr>
      <vt:lpstr>PowerPoint-presentasjon</vt:lpstr>
      <vt:lpstr>PowerPoint-presentasjon</vt:lpstr>
      <vt:lpstr>Regnskap OD per mars 2024</vt:lpstr>
      <vt:lpstr>12/2024 Aktuelle saker fra ledelsen</vt:lpstr>
      <vt:lpstr>13/2024 Status økonomi – informasjon</vt:lpstr>
      <vt:lpstr>D-sak 14/24 Kunngjøring av instituttlederstilingene</vt:lpstr>
      <vt:lpstr>D-sak 15/24 Valg av dekan</vt:lpstr>
      <vt:lpstr>D-sak 16/24 Bruk av midlertidige ansattelser</vt:lpstr>
      <vt:lpstr>PowerPoint-presentasjon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linikkundervisning</dc:title>
  <dc:creator>Leif Erling Jensen</dc:creator>
  <cp:lastModifiedBy>Karen Marie Ulshagen</cp:lastModifiedBy>
  <cp:revision>156</cp:revision>
  <dcterms:created xsi:type="dcterms:W3CDTF">2021-04-08T13:20:55Z</dcterms:created>
  <dcterms:modified xsi:type="dcterms:W3CDTF">2024-04-19T06:36:56Z</dcterms:modified>
</cp:coreProperties>
</file>